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webextensions/taskpanes.xml" ContentType="application/vnd.ms-office.webextensiontaskpanes+xml"/>
  <Override PartName="/ppt/webextensions/webextension1.xml" ContentType="application/vnd.ms-office.webextension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microsoft.com/office/2011/relationships/webextensiontaskpanes" Target="ppt/webextensions/taskpanes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387" r:id="rId2"/>
    <p:sldId id="397" r:id="rId3"/>
    <p:sldId id="399" r:id="rId4"/>
    <p:sldId id="395" r:id="rId5"/>
    <p:sldId id="400" r:id="rId6"/>
    <p:sldId id="396" r:id="rId7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D27800"/>
    <a:srgbClr val="FF960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1" autoAdjust="0"/>
    <p:restoredTop sz="98064" autoAdjust="0"/>
  </p:normalViewPr>
  <p:slideViewPr>
    <p:cSldViewPr>
      <p:cViewPr>
        <p:scale>
          <a:sx n="114" d="100"/>
          <a:sy n="114" d="100"/>
        </p:scale>
        <p:origin x="-198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43238" cy="465138"/>
          </a:xfrm>
          <a:prstGeom prst="rect">
            <a:avLst/>
          </a:prstGeom>
        </p:spPr>
        <p:txBody>
          <a:bodyPr vert="horz" lIns="91419" tIns="45709" rIns="91419" bIns="4570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6" y="0"/>
            <a:ext cx="3043238" cy="465138"/>
          </a:xfrm>
          <a:prstGeom prst="rect">
            <a:avLst/>
          </a:prstGeom>
        </p:spPr>
        <p:txBody>
          <a:bodyPr vert="horz" lIns="91419" tIns="45709" rIns="91419" bIns="45709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375"/>
            <a:ext cx="3043238" cy="465138"/>
          </a:xfrm>
          <a:prstGeom prst="rect">
            <a:avLst/>
          </a:prstGeom>
        </p:spPr>
        <p:txBody>
          <a:bodyPr vert="horz" lIns="91419" tIns="45709" rIns="91419" bIns="4570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6" y="8842375"/>
            <a:ext cx="3043238" cy="465138"/>
          </a:xfrm>
          <a:prstGeom prst="rect">
            <a:avLst/>
          </a:prstGeom>
        </p:spPr>
        <p:txBody>
          <a:bodyPr vert="horz" lIns="91419" tIns="45709" rIns="91419" bIns="45709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61" tIns="47529" rIns="95061" bIns="4752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61" tIns="47529" rIns="95061" bIns="47529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61" tIns="47529" rIns="95061" bIns="4752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61" tIns="47529" rIns="95061" bIns="4752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3"/>
            <a:ext cx="3043343" cy="465455"/>
          </a:xfrm>
          <a:prstGeom prst="rect">
            <a:avLst/>
          </a:prstGeom>
        </p:spPr>
        <p:txBody>
          <a:bodyPr vert="horz" lIns="95061" tIns="47529" rIns="95061" bIns="4752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3"/>
            <a:ext cx="3043343" cy="465455"/>
          </a:xfrm>
          <a:prstGeom prst="rect">
            <a:avLst/>
          </a:prstGeom>
        </p:spPr>
        <p:txBody>
          <a:bodyPr vert="horz" lIns="95061" tIns="47529" rIns="95061" bIns="47529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26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740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DB16A70B-6F58-4BE3-9137-004593873AF5}" type="datetime1">
              <a:rPr lang="en-US" smtClean="0"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3203A38F-96B3-4FAC-A573-E41FE7A9CF7B}" type="datetime1">
              <a:rPr lang="en-US" smtClean="0"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65028DC1-9886-4DD5-A2EE-F06A76F1EF3C}" type="datetime1">
              <a:rPr lang="en-US" smtClean="0"/>
              <a:t>6/22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0AE3A-E009-4B84-86B3-F8C0C5933B35}" type="datetime1">
              <a:rPr lang="en-US" smtClean="0"/>
              <a:t>6/22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08DE85A2-A73B-494D-AB20-2F58582E49C9}" type="datetime1">
              <a:rPr lang="en-US" smtClean="0"/>
              <a:t>6/22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06686"/>
            <a:ext cx="7848600" cy="751114"/>
          </a:xfrm>
        </p:spPr>
        <p:txBody>
          <a:bodyPr/>
          <a:lstStyle/>
          <a:p>
            <a:r>
              <a:rPr lang="en-US" sz="2400" dirty="0" smtClean="0"/>
              <a:t>MBTA Construction Contract No. Q09CNO2:</a:t>
            </a:r>
            <a:br>
              <a:rPr lang="en-US" sz="2400" dirty="0" smtClean="0"/>
            </a:br>
            <a:r>
              <a:rPr lang="en-US" sz="2400" dirty="0" smtClean="0"/>
              <a:t>Green Line D Branch Track and Signal Replacement Beaconsfield to Riverside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19200" y="5410200"/>
            <a:ext cx="3352800" cy="457200"/>
          </a:xfrm>
        </p:spPr>
        <p:txBody>
          <a:bodyPr/>
          <a:lstStyle/>
          <a:p>
            <a:r>
              <a:rPr lang="en-US" dirty="0" smtClean="0"/>
              <a:t>June 25, 2018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7200" y="1371600"/>
            <a:ext cx="8348663" cy="1371600"/>
          </a:xfrm>
        </p:spPr>
        <p:txBody>
          <a:bodyPr/>
          <a:lstStyle/>
          <a:p>
            <a:pPr>
              <a:lnSpc>
                <a:spcPts val="2600"/>
              </a:lnSpc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800" dirty="0"/>
              <a:t>Today’s board </a:t>
            </a:r>
            <a:r>
              <a:rPr lang="en-US" sz="1800" dirty="0" smtClean="0"/>
              <a:t>action </a:t>
            </a:r>
            <a:r>
              <a:rPr lang="en-US" sz="1800" dirty="0"/>
              <a:t>will </a:t>
            </a:r>
            <a:r>
              <a:rPr lang="en-US" sz="1800" dirty="0" smtClean="0"/>
              <a:t>provide for the replacement of track and signals on the Green Line D Branch between the Beaconsfield and Riverside Stations.  The project is located in the Town of Brookline and City of Newton, MA. </a:t>
            </a:r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 dirty="0" smtClean="0"/>
              <a:t>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dirty="0"/>
              <a:t>Contract </a:t>
            </a:r>
            <a:r>
              <a:rPr lang="en-US" dirty="0" smtClean="0"/>
              <a:t>Q09CN02:  Green Line D Branch Track and Signal Replacement – Beaconsfield to Riverside</a:t>
            </a:r>
            <a:endParaRPr dirty="0"/>
          </a:p>
          <a:p>
            <a:pPr>
              <a:defRPr/>
            </a:pPr>
            <a:endParaRPr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904" y="2819400"/>
            <a:ext cx="6439696" cy="3394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7200" y="1447800"/>
            <a:ext cx="8348663" cy="468947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800" dirty="0"/>
              <a:t>The project includes the replacement </a:t>
            </a:r>
            <a:r>
              <a:rPr lang="en-US" sz="1800" dirty="0" smtClean="0"/>
              <a:t>in </a:t>
            </a:r>
            <a:r>
              <a:rPr lang="en-US" sz="1800" dirty="0"/>
              <a:t>kind </a:t>
            </a:r>
            <a:r>
              <a:rPr lang="en-US" sz="1800" dirty="0" smtClean="0"/>
              <a:t>of track sections and the signal system improving safety and reliability of the Green Line D-Branch service and a system that is easier to maintain. </a:t>
            </a:r>
          </a:p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en-US" sz="1800" dirty="0" smtClean="0"/>
              <a:t>The </a:t>
            </a:r>
            <a:r>
              <a:rPr lang="en-US" sz="1800" dirty="0"/>
              <a:t>project includes:</a:t>
            </a:r>
          </a:p>
          <a:p>
            <a:pPr marL="285750" lvl="0" indent="-285750" fontAlgn="auto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Install modernized signal system infrastructure between Riverside and Reservoir</a:t>
            </a:r>
          </a:p>
          <a:p>
            <a:pPr marL="285750" lvl="0" indent="-285750" fontAlgn="auto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Centralized signal system equipment </a:t>
            </a:r>
          </a:p>
          <a:p>
            <a:pPr marL="285750" lvl="0" indent="-285750" fontAlgn="auto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Upgrade track-side signal infrastructure (signals, track switch machines, cables, cable hanging system)</a:t>
            </a:r>
          </a:p>
          <a:p>
            <a:pPr marL="285750" lvl="0" indent="-285750" fontAlgn="auto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Install redundant power supply system</a:t>
            </a:r>
          </a:p>
          <a:p>
            <a:pPr marL="285750" lvl="0" indent="-285750" fontAlgn="auto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Full depth reconstruction of 25,000 LF of mainline track</a:t>
            </a:r>
          </a:p>
          <a:p>
            <a:pPr marL="285750" lvl="0" indent="-285750" fontAlgn="auto"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Upgrade all crossovers and track switches</a:t>
            </a:r>
          </a:p>
          <a:p>
            <a:pPr marL="285750" lvl="0" indent="-285750" fontAlgn="auto">
              <a:spcBef>
                <a:spcPct val="200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800" kern="1200" dirty="0" smtClean="0">
                <a:solidFill>
                  <a:prstClr val="black"/>
                </a:solidFill>
                <a:latin typeface="+mn-lt"/>
              </a:rPr>
              <a:t>Reconstruct pedestrian crossing and truck pads</a:t>
            </a:r>
            <a:endParaRPr lang="en-US" sz="1800" dirty="0">
              <a:solidFill>
                <a:prstClr val="black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endParaRPr lang="en-US" sz="1800" dirty="0" smtClean="0"/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endParaRPr lang="en-US" sz="1800" dirty="0" smtClean="0"/>
          </a:p>
          <a:p>
            <a:pPr marL="285750" indent="-285750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endParaRPr lang="en-US" sz="1800" dirty="0" smtClean="0"/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 dirty="0" smtClean="0"/>
              <a:t>Construction Scop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dirty="0"/>
              <a:t>Contract Q09CN02:  Green Line D Branch Track and Signal Replacement – Beaconsfield to Riverside</a:t>
            </a:r>
          </a:p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Benefi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ract Q09CN02:  Green Line D Branch Track and Signal Replacement – Beaconsfield to Riversid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1447800"/>
            <a:ext cx="8305800" cy="319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925" lvl="1" indent="-288925" fontAlgn="base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Modern signal system will result in fewer delays</a:t>
            </a:r>
          </a:p>
          <a:p>
            <a:pPr marL="288925" lvl="1" indent="-288925" fontAlgn="base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Fewer </a:t>
            </a:r>
            <a:r>
              <a:rPr lang="en-US" dirty="0"/>
              <a:t>signal </a:t>
            </a:r>
            <a:r>
              <a:rPr lang="en-US" dirty="0" smtClean="0"/>
              <a:t>related delays </a:t>
            </a:r>
            <a:r>
              <a:rPr lang="en-US" dirty="0"/>
              <a:t>will increase reliability of Green Line </a:t>
            </a:r>
            <a:r>
              <a:rPr lang="en-US" dirty="0" smtClean="0"/>
              <a:t>operations</a:t>
            </a:r>
          </a:p>
          <a:p>
            <a:pPr marL="288925" lvl="1" indent="-288925" fontAlgn="base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Centralized Instrument Houses </a:t>
            </a:r>
            <a:r>
              <a:rPr lang="en-US" dirty="0"/>
              <a:t>at stations will result in workers spending less time traveling to equipment and isolating </a:t>
            </a:r>
            <a:r>
              <a:rPr lang="en-US" dirty="0" smtClean="0"/>
              <a:t>problems</a:t>
            </a:r>
          </a:p>
          <a:p>
            <a:pPr marL="288925" lvl="1" indent="-288925" fontAlgn="base">
              <a:spcAft>
                <a:spcPts val="180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dirty="0" smtClean="0"/>
              <a:t>Speed restrictions due to existing track conditions will be removed on the “D” Branch</a:t>
            </a:r>
          </a:p>
          <a:p>
            <a:pPr marL="222250" lvl="1"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dirty="0" smtClean="0">
                <a:latin typeface="+mj-lt"/>
              </a:rPr>
              <a:t>          </a:t>
            </a:r>
            <a:endParaRPr lang="en-US" dirty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4014916"/>
            <a:ext cx="2876379" cy="21572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421" y="4014917"/>
            <a:ext cx="2876379" cy="2157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118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 Advertisement and Bi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ract Q09CN02:  Green Line D Branch Track and Signal Replacement – Beaconsfield to Riversid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1524000"/>
            <a:ext cx="8153400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Project was advertised on May 7, 2018</a:t>
            </a:r>
            <a:endParaRPr lang="en-US" dirty="0">
              <a:latin typeface="+mj-lt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Engineer’s Estimate was $66,583,700</a:t>
            </a:r>
            <a:endParaRPr lang="en-US" dirty="0">
              <a:latin typeface="+mj-lt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Bid Opening was on June 19, 2018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Three (3) Bids were received</a:t>
            </a:r>
          </a:p>
          <a:p>
            <a:pPr defTabSz="481013">
              <a:spcAft>
                <a:spcPts val="1200"/>
              </a:spcAft>
            </a:pPr>
            <a:r>
              <a:rPr lang="en-US" dirty="0" smtClean="0">
                <a:latin typeface="+mj-lt"/>
              </a:rPr>
              <a:t>	 </a:t>
            </a:r>
            <a:r>
              <a:rPr lang="en-US" b="1" dirty="0" smtClean="0"/>
              <a:t>$74,000,000	Barletta-</a:t>
            </a:r>
            <a:r>
              <a:rPr lang="en-US" b="1" dirty="0" err="1" smtClean="0"/>
              <a:t>Fischbach</a:t>
            </a:r>
            <a:r>
              <a:rPr lang="en-US" b="1" dirty="0" smtClean="0"/>
              <a:t> Green Line D Branch JV 	 (Low Bidder)</a:t>
            </a:r>
            <a:endParaRPr lang="en-US" dirty="0" smtClean="0"/>
          </a:p>
          <a:p>
            <a:pPr defTabSz="481013">
              <a:spcAft>
                <a:spcPts val="1200"/>
              </a:spcAft>
            </a:pPr>
            <a:r>
              <a:rPr lang="en-US" dirty="0" smtClean="0"/>
              <a:t>	  $79,937,700	J.F. White </a:t>
            </a:r>
          </a:p>
          <a:p>
            <a:pPr defTabSz="481013">
              <a:spcAft>
                <a:spcPts val="1200"/>
              </a:spcAft>
            </a:pPr>
            <a:r>
              <a:rPr lang="en-US" dirty="0" smtClean="0"/>
              <a:t>	$107,135,700 	SPS/</a:t>
            </a:r>
            <a:r>
              <a:rPr lang="en-US" dirty="0" err="1" smtClean="0"/>
              <a:t>Dagle</a:t>
            </a:r>
            <a:r>
              <a:rPr lang="en-US" dirty="0" smtClean="0"/>
              <a:t> JV</a:t>
            </a:r>
          </a:p>
          <a:p>
            <a:pPr marL="285750" indent="-285750" defTabSz="5127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Bid analysis has been completed.  Based on the analysis the variance between the Engineer’s Estimate and the low bid is attributable to: tariffs, steel prices, supply &amp; demand and assumed production rates for </a:t>
            </a:r>
            <a:r>
              <a:rPr lang="en-US" dirty="0" err="1" smtClean="0">
                <a:latin typeface="+mj-lt"/>
              </a:rPr>
              <a:t>trackwork</a:t>
            </a:r>
            <a:r>
              <a:rPr lang="en-US" dirty="0" smtClean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749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est of the Fiscal and Management Control Boar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ract Q09CN02:  Green Line D Branch Track and Signal Replacement – Beaconsfield to Riversid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1524000"/>
            <a:ext cx="82296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1800"/>
              </a:spcAft>
            </a:pPr>
            <a:r>
              <a:rPr lang="en-US" dirty="0" smtClean="0">
                <a:latin typeface="+mj-lt"/>
              </a:rPr>
              <a:t>Staff request that the Fiscal and Management Control Board authorize the MBTA General Manager and CEO, or his designee, to award and execute MBTA Construction Contract No. Q09CN02: Green Line D Branch Track and Signal Replacement – Beaconsfield to Riverside with Barletta-</a:t>
            </a:r>
            <a:r>
              <a:rPr lang="en-US" dirty="0" err="1" smtClean="0">
                <a:latin typeface="+mj-lt"/>
              </a:rPr>
              <a:t>Fischbach</a:t>
            </a:r>
            <a:r>
              <a:rPr lang="en-US" dirty="0" smtClean="0">
                <a:latin typeface="+mj-lt"/>
              </a:rPr>
              <a:t> Green Line D Branch Joint Venture for an amount not to exceed $74,000,000.</a:t>
            </a:r>
          </a:p>
        </p:txBody>
      </p:sp>
    </p:spTree>
    <p:extLst>
      <p:ext uri="{BB962C8B-B14F-4D97-AF65-F5344CB8AC3E}">
        <p14:creationId xmlns:p14="http://schemas.microsoft.com/office/powerpoint/2010/main" val="29025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AC445D1-1674-4DD1-BEBF-36D630AEEA81}">
  <we:reference id="wa104379279" version="2.0.0.0" store="en-US" storeType="OMEX"/>
  <we:alternateReferences>
    <we:reference id="WA104379279" version="2.0.0.0" store="WA10437927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8B7B9EC50D84686AAAD4098783FD4" ma:contentTypeVersion="2" ma:contentTypeDescription="Create a new document." ma:contentTypeScope="" ma:versionID="a7a82a68beb88968fb935b4545f4b591">
  <xsd:schema xmlns:xsd="http://www.w3.org/2001/XMLSchema" xmlns:xs="http://www.w3.org/2001/XMLSchema" xmlns:p="http://schemas.microsoft.com/office/2006/metadata/properties" xmlns:ns2="abf27a4b-0855-4696-9a36-93e890b511e0" targetNamespace="http://schemas.microsoft.com/office/2006/metadata/properties" ma:root="true" ma:fieldsID="841d737819eae57712bdd14d7b172a8a" ns2:_="">
    <xsd:import namespace="abf27a4b-0855-4696-9a36-93e890b511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27a4b-0855-4696-9a36-93e890b511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3B275A3-34AA-4051-889C-4A7FCE9E2C95}"/>
</file>

<file path=customXml/itemProps2.xml><?xml version="1.0" encoding="utf-8"?>
<ds:datastoreItem xmlns:ds="http://schemas.openxmlformats.org/officeDocument/2006/customXml" ds:itemID="{F5CAFA9B-2287-4DBA-B2E4-BAF9A3922BC9}"/>
</file>

<file path=customXml/itemProps3.xml><?xml version="1.0" encoding="utf-8"?>
<ds:datastoreItem xmlns:ds="http://schemas.openxmlformats.org/officeDocument/2006/customXml" ds:itemID="{34FDE8DC-E9BF-4189-BCC3-414D40BCC3BE}"/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5920</TotalTime>
  <Words>382</Words>
  <Application>Microsoft Office PowerPoint</Application>
  <PresentationFormat>On-screen Show (4:3)</PresentationFormat>
  <Paragraphs>39</Paragraphs>
  <Slides>6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Presentation3</vt:lpstr>
      <vt:lpstr>MBTA Construction Contract No. Q09CNO2: Green Line D Branch Track and Signal Replacement Beaconsfield to Riverside</vt:lpstr>
      <vt:lpstr>OVERVIEW</vt:lpstr>
      <vt:lpstr>Construction Scope</vt:lpstr>
      <vt:lpstr>Project Benefits</vt:lpstr>
      <vt:lpstr>Construction Advertisement and Bid</vt:lpstr>
      <vt:lpstr>Request of the Fiscal and Management Control Boar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NP</cp:lastModifiedBy>
  <cp:revision>266</cp:revision>
  <cp:lastPrinted>2018-06-22T19:26:29Z</cp:lastPrinted>
  <dcterms:created xsi:type="dcterms:W3CDTF">2016-05-17T19:48:13Z</dcterms:created>
  <dcterms:modified xsi:type="dcterms:W3CDTF">2018-06-22T20:3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8B7B9EC50D84686AAAD4098783FD4</vt:lpwstr>
  </property>
</Properties>
</file>